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30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275" r:id="rId10"/>
    <p:sldId id="306" r:id="rId11"/>
    <p:sldId id="328" r:id="rId12"/>
    <p:sldId id="320" r:id="rId13"/>
    <p:sldId id="330" r:id="rId14"/>
    <p:sldId id="331" r:id="rId15"/>
    <p:sldId id="337" r:id="rId16"/>
    <p:sldId id="338" r:id="rId17"/>
    <p:sldId id="339" r:id="rId18"/>
    <p:sldId id="267" r:id="rId19"/>
    <p:sldId id="336" r:id="rId20"/>
    <p:sldId id="335" r:id="rId21"/>
    <p:sldId id="340" r:id="rId22"/>
    <p:sldId id="341" r:id="rId23"/>
    <p:sldId id="309" r:id="rId24"/>
    <p:sldId id="322" r:id="rId25"/>
    <p:sldId id="323" r:id="rId26"/>
    <p:sldId id="329" r:id="rId27"/>
    <p:sldId id="325" r:id="rId28"/>
    <p:sldId id="318" r:id="rId2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hotra, Simran" initials="MS" lastIdx="1" clrIdx="0">
    <p:extLst>
      <p:ext uri="{19B8F6BF-5375-455C-9EA6-DF929625EA0E}">
        <p15:presenceInfo xmlns:p15="http://schemas.microsoft.com/office/powerpoint/2012/main" userId="S-1-5-21-1531082355-734649621-3782574898-31999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09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7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1800" dirty="0" smtClean="0"/>
            <a:t>Admin</a:t>
          </a:r>
          <a:endParaRPr lang="en-IN" sz="18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Modifying an asset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 custT="1"/>
      <dgm:spPr/>
      <dgm:t>
        <a:bodyPr/>
        <a:lstStyle/>
        <a:p>
          <a:r>
            <a:rPr lang="en-IN" sz="1100" dirty="0" smtClean="0"/>
            <a:t>Adding an </a:t>
          </a:r>
          <a:r>
            <a:rPr lang="en-IN" sz="1200" dirty="0" smtClean="0"/>
            <a:t>asset</a:t>
          </a:r>
          <a:endParaRPr lang="en-IN" sz="1100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r>
            <a:rPr lang="en-IN" dirty="0" smtClean="0"/>
            <a:t>Deleting an asset</a:t>
          </a:r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 custT="1"/>
      <dgm:spPr/>
      <dgm:t>
        <a:bodyPr/>
        <a:lstStyle/>
        <a:p>
          <a:r>
            <a:rPr lang="en-IN" sz="1200" dirty="0" smtClean="0"/>
            <a:t>Approve</a:t>
          </a:r>
          <a:r>
            <a:rPr lang="en-IN" sz="1100" dirty="0" smtClean="0"/>
            <a:t> request</a:t>
          </a:r>
          <a:endParaRPr lang="en-IN" sz="1100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3B08572E-9862-4237-9F3F-86C83D0BEDC5}">
      <dgm:prSet custT="1"/>
      <dgm:spPr/>
      <dgm:t>
        <a:bodyPr/>
        <a:lstStyle/>
        <a:p>
          <a:r>
            <a:rPr lang="en-IN" sz="1100" dirty="0" smtClean="0"/>
            <a:t>View </a:t>
          </a:r>
          <a:r>
            <a:rPr lang="en-IN" sz="1200" dirty="0" smtClean="0"/>
            <a:t>request</a:t>
          </a:r>
          <a:r>
            <a:rPr lang="en-IN" sz="1100" dirty="0" smtClean="0"/>
            <a:t/>
          </a:r>
          <a:br>
            <a:rPr lang="en-IN" sz="1100" dirty="0" smtClean="0"/>
          </a:br>
          <a:endParaRPr lang="en-IN" sz="1100" dirty="0"/>
        </a:p>
      </dgm:t>
    </dgm:pt>
    <dgm:pt modelId="{F0549BE2-1893-4B3C-A005-E37457321C21}" type="parTrans" cxnId="{C6C019A3-531F-4D07-9475-C40EBBAD6AB2}">
      <dgm:prSet/>
      <dgm:spPr/>
      <dgm:t>
        <a:bodyPr/>
        <a:lstStyle/>
        <a:p>
          <a:endParaRPr lang="en-US"/>
        </a:p>
      </dgm:t>
    </dgm:pt>
    <dgm:pt modelId="{674BE478-BAFB-470B-8A15-696015E6583A}" type="sibTrans" cxnId="{C6C019A3-531F-4D07-9475-C40EBBAD6AB2}">
      <dgm:prSet/>
      <dgm:spPr/>
      <dgm:t>
        <a:bodyPr/>
        <a:lstStyle/>
        <a:p>
          <a:endParaRPr lang="en-US"/>
        </a:p>
      </dgm:t>
    </dgm:pt>
    <dgm:pt modelId="{D09494B5-FEF6-4D45-A6C8-87753C1BF1B1}">
      <dgm:prSet phldrT="[Text]" custRadScaleRad="100713" custRadScaleInc="57821"/>
      <dgm:spPr/>
      <dgm:t>
        <a:bodyPr/>
        <a:lstStyle/>
        <a:p>
          <a:endParaRPr lang="en-US"/>
        </a:p>
      </dgm:t>
    </dgm:pt>
    <dgm:pt modelId="{5E8D98D4-F791-40DF-90B4-E2CCAD548EC2}" type="parTrans" cxnId="{728307F1-EC5C-4D67-B4ED-EABADD05F659}">
      <dgm:prSet/>
      <dgm:spPr/>
      <dgm:t>
        <a:bodyPr/>
        <a:lstStyle/>
        <a:p>
          <a:endParaRPr lang="en-US"/>
        </a:p>
      </dgm:t>
    </dgm:pt>
    <dgm:pt modelId="{E5F64176-06BC-445E-87AB-3079771A81CD}" type="sibTrans" cxnId="{728307F1-EC5C-4D67-B4ED-EABADD05F659}">
      <dgm:prSet/>
      <dgm:spPr/>
      <dgm:t>
        <a:bodyPr/>
        <a:lstStyle/>
        <a:p>
          <a:endParaRPr lang="en-US"/>
        </a:p>
      </dgm:t>
    </dgm:pt>
    <dgm:pt modelId="{6CD26447-569C-42A2-8E6E-7D3B5F72A63F}">
      <dgm:prSet custT="1"/>
      <dgm:spPr/>
      <dgm:t>
        <a:bodyPr/>
        <a:lstStyle/>
        <a:p>
          <a:r>
            <a:rPr lang="en-IN" sz="1200" dirty="0" smtClean="0"/>
            <a:t>Delete request</a:t>
          </a:r>
          <a:endParaRPr lang="en-IN" sz="1200" dirty="0"/>
        </a:p>
      </dgm:t>
    </dgm:pt>
    <dgm:pt modelId="{B5A74B7B-5236-4A76-83F3-131B255BDC29}" type="parTrans" cxnId="{1CEB6FDD-8B7C-44ED-89C9-D16F2B629E44}">
      <dgm:prSet/>
      <dgm:spPr/>
      <dgm:t>
        <a:bodyPr/>
        <a:lstStyle/>
        <a:p>
          <a:endParaRPr lang="en-US"/>
        </a:p>
      </dgm:t>
    </dgm:pt>
    <dgm:pt modelId="{BC931DE7-AE0A-44DB-B78A-01C0DEAFFBA7}" type="sibTrans" cxnId="{1CEB6FDD-8B7C-44ED-89C9-D16F2B629E44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6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6" custRadScaleRad="98823" custRadScaleInc="7506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6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6" custRadScaleRad="141521" custRadScaleInc="1267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6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6" custRadScaleRad="47042" custRadScaleInc="-2826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3" presStyleCnt="6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3" presStyleCnt="6" custRadScaleRad="81230" custRadScaleInc="2740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4D99F5-8EB6-4D63-9E7E-33104683C900}" type="pres">
      <dgm:prSet presAssocID="{F0549BE2-1893-4B3C-A005-E37457321C21}" presName="parTrans" presStyleLbl="bgSibTrans2D1" presStyleIdx="4" presStyleCnt="6"/>
      <dgm:spPr/>
      <dgm:t>
        <a:bodyPr/>
        <a:lstStyle/>
        <a:p>
          <a:endParaRPr lang="en-US"/>
        </a:p>
      </dgm:t>
    </dgm:pt>
    <dgm:pt modelId="{36620F52-F392-4ECF-A78A-2AE4CA2CE548}" type="pres">
      <dgm:prSet presAssocID="{3B08572E-9862-4237-9F3F-86C83D0BEDC5}" presName="node" presStyleLbl="node1" presStyleIdx="4" presStyleCnt="6" custRadScaleRad="21479" custRadScaleInc="21665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EF60D5-D22F-4D11-9496-0597475F9D01}" type="pres">
      <dgm:prSet presAssocID="{B5A74B7B-5236-4A76-83F3-131B255BDC29}" presName="parTrans" presStyleLbl="bgSibTrans2D1" presStyleIdx="5" presStyleCnt="6"/>
      <dgm:spPr/>
      <dgm:t>
        <a:bodyPr/>
        <a:lstStyle/>
        <a:p>
          <a:endParaRPr lang="en-US"/>
        </a:p>
      </dgm:t>
    </dgm:pt>
    <dgm:pt modelId="{29DD35B8-6E0D-4F78-98AB-E60991CD1879}" type="pres">
      <dgm:prSet presAssocID="{6CD26447-569C-42A2-8E6E-7D3B5F72A63F}" presName="node" presStyleLbl="node1" presStyleIdx="5" presStyleCnt="6" custRadScaleRad="100777" custRadScaleInc="-1003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F92A70C9-E938-482F-9FD4-AB714F773723}" srcId="{5A7729A2-75B9-4FBC-8844-90F76B1D8C7E}" destId="{374760DF-DB23-4CA2-8759-86847150A20D}" srcOrd="3" destOrd="0" parTransId="{82F82485-D9D4-4AC9-A44B-051857860A87}" sibTransId="{B3AB6E22-FF71-41B9-8C91-C9A7C776B80E}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1B71C62A-5BA4-4DF0-BA63-82396C99FF91}" type="presOf" srcId="{3B08572E-9862-4237-9F3F-86C83D0BEDC5}" destId="{36620F52-F392-4ECF-A78A-2AE4CA2CE548}" srcOrd="0" destOrd="0" presId="urn:microsoft.com/office/officeart/2005/8/layout/radial4"/>
    <dgm:cxn modelId="{728307F1-EC5C-4D67-B4ED-EABADD05F659}" srcId="{A1BA4038-8694-4208-86E4-E637D37487CE}" destId="{D09494B5-FEF6-4D45-A6C8-87753C1BF1B1}" srcOrd="2" destOrd="0" parTransId="{5E8D98D4-F791-40DF-90B4-E2CCAD548EC2}" sibTransId="{E5F64176-06BC-445E-87AB-3079771A81CD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5A7235AF-C345-498D-8CCA-AE909386A018}" type="presOf" srcId="{F0549BE2-1893-4B3C-A005-E37457321C21}" destId="{4B4D99F5-8EB6-4D63-9E7E-33104683C900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1CEB6FDD-8B7C-44ED-89C9-D16F2B629E44}" srcId="{5A7729A2-75B9-4FBC-8844-90F76B1D8C7E}" destId="{6CD26447-569C-42A2-8E6E-7D3B5F72A63F}" srcOrd="5" destOrd="0" parTransId="{B5A74B7B-5236-4A76-83F3-131B255BDC29}" sibTransId="{BC931DE7-AE0A-44DB-B78A-01C0DEAFFBA7}"/>
    <dgm:cxn modelId="{C6C019A3-531F-4D07-9475-C40EBBAD6AB2}" srcId="{5A7729A2-75B9-4FBC-8844-90F76B1D8C7E}" destId="{3B08572E-9862-4237-9F3F-86C83D0BEDC5}" srcOrd="4" destOrd="0" parTransId="{F0549BE2-1893-4B3C-A005-E37457321C21}" sibTransId="{674BE478-BAFB-470B-8A15-696015E6583A}"/>
    <dgm:cxn modelId="{BA0019BF-A11F-47D7-99AF-E0567033EC26}" type="presOf" srcId="{B5A74B7B-5236-4A76-83F3-131B255BDC29}" destId="{95EF60D5-D22F-4D11-9496-0597475F9D01}" srcOrd="0" destOrd="0" presId="urn:microsoft.com/office/officeart/2005/8/layout/radial4"/>
    <dgm:cxn modelId="{7AD3363B-45D5-4605-B80E-6CD9DFFA73AC}" type="presOf" srcId="{6CD26447-569C-42A2-8E6E-7D3B5F72A63F}" destId="{29DD35B8-6E0D-4F78-98AB-E60991CD1879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5A542D42-2172-4052-A4F1-4D23130D9D37}" type="presParOf" srcId="{F529A9FE-3A30-478D-8FB5-0EE20CF3B2CD}" destId="{C2828057-5F65-4707-A76C-46A6588FAB93}" srcOrd="7" destOrd="0" presId="urn:microsoft.com/office/officeart/2005/8/layout/radial4"/>
    <dgm:cxn modelId="{CF8B61D2-9FE0-40E2-8EB0-4DF83CAE5FC6}" type="presParOf" srcId="{F529A9FE-3A30-478D-8FB5-0EE20CF3B2CD}" destId="{36349CBE-CB7C-48FD-83C3-D60F2DB8658D}" srcOrd="8" destOrd="0" presId="urn:microsoft.com/office/officeart/2005/8/layout/radial4"/>
    <dgm:cxn modelId="{DF7265EF-4FD4-416E-8B9B-772FEC1F8C8D}" type="presParOf" srcId="{F529A9FE-3A30-478D-8FB5-0EE20CF3B2CD}" destId="{4B4D99F5-8EB6-4D63-9E7E-33104683C900}" srcOrd="9" destOrd="0" presId="urn:microsoft.com/office/officeart/2005/8/layout/radial4"/>
    <dgm:cxn modelId="{BDE80EA9-50B4-43EE-9A9B-574FFBF7B6EB}" type="presParOf" srcId="{F529A9FE-3A30-478D-8FB5-0EE20CF3B2CD}" destId="{36620F52-F392-4ECF-A78A-2AE4CA2CE548}" srcOrd="10" destOrd="0" presId="urn:microsoft.com/office/officeart/2005/8/layout/radial4"/>
    <dgm:cxn modelId="{8624F408-6F8F-4E2D-AF18-A949DD60565E}" type="presParOf" srcId="{F529A9FE-3A30-478D-8FB5-0EE20CF3B2CD}" destId="{95EF60D5-D22F-4D11-9496-0597475F9D01}" srcOrd="11" destOrd="0" presId="urn:microsoft.com/office/officeart/2005/8/layout/radial4"/>
    <dgm:cxn modelId="{A66081CE-4441-42AD-B680-EDB90A81EDBC}" type="presParOf" srcId="{F529A9FE-3A30-478D-8FB5-0EE20CF3B2CD}" destId="{29DD35B8-6E0D-4F78-98AB-E60991CD1879}" srcOrd="1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1600" dirty="0" smtClean="0"/>
            <a:t>Manager/User</a:t>
          </a:r>
          <a:endParaRPr lang="en-IN" sz="10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Login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Raise request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DCCB6A2-D6FC-4C9D-BF15-840D5CAA98D3}">
      <dgm:prSet phldrT="[Text]"/>
      <dgm:spPr/>
      <dgm:t>
        <a:bodyPr/>
        <a:lstStyle/>
        <a:p>
          <a:r>
            <a:rPr lang="en-IN" dirty="0" smtClean="0"/>
            <a:t>View Status</a:t>
          </a:r>
          <a:endParaRPr lang="en-IN" dirty="0"/>
        </a:p>
      </dgm:t>
    </dgm:pt>
    <dgm:pt modelId="{EBDCA544-7BBA-4728-AC44-65ACD090DFEC}" type="parTrans" cxnId="{A0E75DC5-DDCA-439F-B714-911141F5849D}">
      <dgm:prSet/>
      <dgm:spPr/>
      <dgm:t>
        <a:bodyPr/>
        <a:lstStyle/>
        <a:p>
          <a:endParaRPr lang="en-US"/>
        </a:p>
      </dgm:t>
    </dgm:pt>
    <dgm:pt modelId="{F8A2174D-094D-4931-ADB5-AA7B7ED3D53B}" type="sibTrans" cxnId="{A0E75DC5-DDCA-439F-B714-911141F5849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-757" custLinFactNeighborY="-64190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3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3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3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3" custRadScaleRad="14827" custRadScaleInc="28417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53DFFDD-A1C4-480C-9C85-C9211A3EA186}" type="pres">
      <dgm:prSet presAssocID="{EBDCA544-7BBA-4728-AC44-65ACD090DFEC}" presName="parTrans" presStyleLbl="bgSibTrans2D1" presStyleIdx="2" presStyleCnt="3"/>
      <dgm:spPr/>
      <dgm:t>
        <a:bodyPr/>
        <a:lstStyle/>
        <a:p>
          <a:endParaRPr lang="en-US"/>
        </a:p>
      </dgm:t>
    </dgm:pt>
    <dgm:pt modelId="{72EE302B-E5FA-4ED6-A6B1-71A383100CA3}" type="pres">
      <dgm:prSet presAssocID="{FDCCB6A2-D6FC-4C9D-BF15-840D5CAA98D3}" presName="node" presStyleLbl="node1" presStyleIdx="2" presStyleCnt="3" custRadScaleRad="86977" custRadScaleInc="356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E1C667AA-AB42-41F1-9E06-42F2B2B14F43}" type="presOf" srcId="{EBDCA544-7BBA-4728-AC44-65ACD090DFEC}" destId="{453DFFDD-A1C4-480C-9C85-C9211A3EA1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A0E75DC5-DDCA-439F-B714-911141F5849D}" srcId="{5A7729A2-75B9-4FBC-8844-90F76B1D8C7E}" destId="{FDCCB6A2-D6FC-4C9D-BF15-840D5CAA98D3}" srcOrd="2" destOrd="0" parTransId="{EBDCA544-7BBA-4728-AC44-65ACD090DFEC}" sibTransId="{F8A2174D-094D-4931-ADB5-AA7B7ED3D53B}"/>
    <dgm:cxn modelId="{8EF3B6E2-D319-4E74-85CC-65D64DD1CE93}" type="presOf" srcId="{FDCCB6A2-D6FC-4C9D-BF15-840D5CAA98D3}" destId="{72EE302B-E5FA-4ED6-A6B1-71A383100CA3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  <dgm:cxn modelId="{037D512E-2C42-4EB0-9562-F92F4A6A028C}" type="presParOf" srcId="{F529A9FE-3A30-478D-8FB5-0EE20CF3B2CD}" destId="{453DFFDD-A1C4-480C-9C85-C9211A3EA186}" srcOrd="5" destOrd="0" presId="urn:microsoft.com/office/officeart/2005/8/layout/radial4"/>
    <dgm:cxn modelId="{8D7F10FA-7ECA-4050-837B-4808E8530D7E}" type="presParOf" srcId="{F529A9FE-3A30-478D-8FB5-0EE20CF3B2CD}" destId="{72EE302B-E5FA-4ED6-A6B1-71A383100CA3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6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Use%20Case%20Specification.docx" TargetMode="External"/><Relationship Id="rId2" Type="http://schemas.openxmlformats.org/officeDocument/2006/relationships/hyperlink" Target="Use%20Case%20Specification_asset.docx" TargetMode="Externa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ini%20project%20defect%20report.xlsx" TargetMode="Externa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ndafile:8081/AssetManagementSystem_Spring/index.html" TargetMode="Externa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AMS%20testcases(2).xlsx" TargetMode="Externa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PROJECT_RVFD.xls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5400" b="1" dirty="0" smtClean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Candara" pitchFamily="34" charset="0"/>
              </a:rPr>
              <a:t>Asset Management System</a:t>
            </a:r>
            <a:endParaRPr lang="en-US" sz="54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  <a:reflection blurRad="6350" stA="60000" endA="900" endPos="58000" dir="5400000" sy="-100000" algn="bl" rotWithShape="0"/>
              </a:effectLst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400" b="0" dirty="0">
              <a:solidFill>
                <a:schemeClr val="tx1"/>
              </a:solidFill>
            </a:endParaRPr>
          </a:p>
          <a:p>
            <a:r>
              <a:rPr lang="en-US" sz="2400" dirty="0" smtClean="0">
                <a:solidFill>
                  <a:schemeClr val="tx1"/>
                </a:solidFill>
                <a:hlinkClick r:id="rId2" action="ppaction://hlinkfile"/>
              </a:rPr>
              <a:t>LINK:</a:t>
            </a:r>
            <a:r>
              <a:rPr lang="en-US" sz="2400" b="0" dirty="0" smtClean="0">
                <a:solidFill>
                  <a:schemeClr val="tx1"/>
                </a:solidFill>
                <a:hlinkClick r:id="rId3" action="ppaction://hlinkfile"/>
              </a:rPr>
              <a:t>AMS_USECASE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7200" y="1423062"/>
            <a:ext cx="4116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1. For Successful Login</a:t>
            </a:r>
            <a:endParaRPr 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6" y="2228850"/>
            <a:ext cx="8031843" cy="327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USE CASE DIAGRAM</a:t>
            </a:r>
            <a:endParaRPr lang="en-US" b="1" dirty="0"/>
          </a:p>
        </p:txBody>
      </p:sp>
      <p:sp>
        <p:nvSpPr>
          <p:cNvPr id="3" name="TextBox 2"/>
          <p:cNvSpPr txBox="1"/>
          <p:nvPr/>
        </p:nvSpPr>
        <p:spPr>
          <a:xfrm>
            <a:off x="304800" y="1371600"/>
            <a:ext cx="457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2</a:t>
            </a:r>
            <a:r>
              <a:rPr lang="en-US" sz="2000" dirty="0" smtClean="0"/>
              <a:t>. </a:t>
            </a:r>
            <a:r>
              <a:rPr lang="en-GB" sz="2400" cap="small" dirty="0"/>
              <a:t>For Successful Raise A </a:t>
            </a:r>
            <a:r>
              <a:rPr lang="en-GB" sz="2400" cap="small" dirty="0" smtClean="0"/>
              <a:t>Request</a:t>
            </a:r>
            <a:endParaRPr lang="en-US" sz="2400" cap="small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57400"/>
            <a:ext cx="9144000" cy="403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81000" y="1371600"/>
            <a:ext cx="48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3. </a:t>
            </a:r>
            <a:r>
              <a:rPr lang="en-GB" sz="2400" cap="small" dirty="0"/>
              <a:t>For Viewing The Asset </a:t>
            </a:r>
            <a:r>
              <a:rPr lang="en-GB" sz="2400" cap="small" dirty="0" smtClean="0"/>
              <a:t>Status</a:t>
            </a:r>
            <a:endParaRPr lang="en-US" sz="2400" cap="small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65543"/>
            <a:ext cx="9144000" cy="352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77504" y="1395081"/>
            <a:ext cx="4503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4. </a:t>
            </a:r>
            <a:r>
              <a:rPr lang="en-GB" sz="2400" cap="small" dirty="0"/>
              <a:t>For Successful Addition Of </a:t>
            </a:r>
            <a:r>
              <a:rPr lang="en-GB" sz="2400" cap="small" dirty="0" smtClean="0"/>
              <a:t>Asset</a:t>
            </a:r>
            <a:endParaRPr lang="en-US" cap="smal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3100" y="2190750"/>
            <a:ext cx="52578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771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4800" y="1367135"/>
            <a:ext cx="556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5. </a:t>
            </a:r>
            <a:r>
              <a:rPr lang="en-GB" sz="2400" cap="small" dirty="0"/>
              <a:t>For Successful Modification Of </a:t>
            </a:r>
            <a:r>
              <a:rPr lang="en-GB" sz="2400" cap="small" dirty="0" smtClean="0"/>
              <a:t>Asset</a:t>
            </a:r>
            <a:endParaRPr lang="en-US" sz="2400" cap="smal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828800"/>
            <a:ext cx="76962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3456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4800" y="1447800"/>
            <a:ext cx="449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cap="small" dirty="0"/>
              <a:t>6. For Successful Deletion Of </a:t>
            </a:r>
            <a:r>
              <a:rPr lang="en-GB" sz="2400" cap="small" dirty="0" smtClean="0"/>
              <a:t>Asset</a:t>
            </a:r>
            <a:endParaRPr lang="en-US" sz="2400" cap="small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2200" y="1981200"/>
            <a:ext cx="4114800" cy="381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7836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dirty="0" smtClean="0">
                <a:solidFill>
                  <a:schemeClr val="tx1"/>
                </a:solidFill>
                <a:hlinkClick r:id="rId2" action="ppaction://hlinkfile"/>
              </a:rPr>
              <a:t>A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invalid 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Some of the links present in all the pages is not navigating the user to proper web </a:t>
            </a:r>
            <a:r>
              <a:rPr lang="en-US" b="0" dirty="0" smtClean="0">
                <a:solidFill>
                  <a:schemeClr val="tx1"/>
                </a:solidFill>
              </a:rPr>
              <a:t>pag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>
                <a:solidFill>
                  <a:schemeClr val="tx1"/>
                </a:solidFill>
              </a:rPr>
              <a:t>There are some common spelling mistakes in all the pag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</a:t>
            </a:r>
            <a:r>
              <a:rPr lang="en-US" b="0" dirty="0" smtClean="0">
                <a:solidFill>
                  <a:schemeClr val="tx1"/>
                </a:solidFill>
              </a:rPr>
              <a:t>entering invalid values in the Asset details 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entering </a:t>
            </a:r>
            <a:r>
              <a:rPr lang="en-US" b="0" dirty="0" smtClean="0">
                <a:solidFill>
                  <a:schemeClr val="tx1"/>
                </a:solidFill>
              </a:rPr>
              <a:t>null </a:t>
            </a:r>
            <a:r>
              <a:rPr lang="en-US" b="0" dirty="0">
                <a:solidFill>
                  <a:schemeClr val="tx1"/>
                </a:solidFill>
              </a:rPr>
              <a:t>values in the Asset details </a:t>
            </a:r>
            <a:r>
              <a:rPr lang="en-US" b="0" dirty="0" smtClean="0">
                <a:solidFill>
                  <a:schemeClr val="tx1"/>
                </a:solidFill>
              </a:rPr>
              <a:t>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user </a:t>
            </a:r>
            <a:r>
              <a:rPr lang="en-US" b="0" dirty="0" smtClean="0">
                <a:solidFill>
                  <a:schemeClr val="tx1"/>
                </a:solidFill>
              </a:rPr>
              <a:t>is able to view status of raised request even with entering invalid Emp No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Manag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both the username and password fields as </a:t>
            </a:r>
            <a:r>
              <a:rPr lang="en-US" b="0" dirty="0" smtClean="0">
                <a:solidFill>
                  <a:schemeClr val="tx1"/>
                </a:solidFill>
              </a:rPr>
              <a:t>blank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</a:t>
            </a:r>
            <a:r>
              <a:rPr lang="en-US" b="0" dirty="0" smtClean="0">
                <a:solidFill>
                  <a:schemeClr val="tx1"/>
                </a:solidFill>
              </a:rPr>
              <a:t>invalid </a:t>
            </a:r>
            <a:r>
              <a:rPr lang="en-US" b="0" dirty="0">
                <a:solidFill>
                  <a:schemeClr val="tx1"/>
                </a:solidFill>
              </a:rPr>
              <a:t>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ome of the links present in all the pages is not navigating the user to proper web page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re are some common spelling mistakes in all the pages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asset details </a:t>
            </a:r>
            <a:r>
              <a:rPr lang="en-US" b="0" dirty="0" smtClean="0">
                <a:solidFill>
                  <a:schemeClr val="tx1"/>
                </a:solidFill>
              </a:rPr>
              <a:t>fields </a:t>
            </a:r>
            <a:r>
              <a:rPr lang="en-US" b="0" dirty="0">
                <a:solidFill>
                  <a:schemeClr val="tx1"/>
                </a:solidFill>
              </a:rPr>
              <a:t>as </a:t>
            </a:r>
            <a:r>
              <a:rPr lang="en-US" b="0" dirty="0" smtClean="0">
                <a:solidFill>
                  <a:schemeClr val="tx1"/>
                </a:solidFill>
              </a:rPr>
              <a:t>blank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</a:t>
            </a:r>
            <a:r>
              <a:rPr lang="en-US" b="0" dirty="0" smtClean="0">
                <a:solidFill>
                  <a:schemeClr val="tx1"/>
                </a:solidFill>
              </a:rPr>
              <a:t>values in asset details fields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9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D. </a:t>
            </a:r>
            <a:r>
              <a:rPr lang="en-IN" sz="2800" dirty="0" err="1" smtClean="0">
                <a:solidFill>
                  <a:schemeClr val="tx1"/>
                </a:solidFill>
              </a:rPr>
              <a:t>Jahnavi</a:t>
            </a:r>
            <a:endParaRPr lang="en-IN" sz="28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G. </a:t>
            </a:r>
            <a:r>
              <a:rPr lang="en-IN" sz="2800" dirty="0" err="1">
                <a:solidFill>
                  <a:schemeClr val="tx1"/>
                </a:solidFill>
              </a:rPr>
              <a:t>Kavya</a:t>
            </a:r>
            <a:r>
              <a:rPr lang="en-IN" sz="2800" dirty="0">
                <a:solidFill>
                  <a:schemeClr val="tx1"/>
                </a:solidFill>
              </a:rPr>
              <a:t> </a:t>
            </a:r>
            <a:r>
              <a:rPr lang="en-IN" sz="2800" dirty="0" smtClean="0">
                <a:solidFill>
                  <a:schemeClr val="tx1"/>
                </a:solidFill>
              </a:rPr>
              <a:t>Sri</a:t>
            </a:r>
          </a:p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M. </a:t>
            </a:r>
            <a:r>
              <a:rPr lang="en-IN" sz="2800" dirty="0" err="1" smtClean="0">
                <a:solidFill>
                  <a:schemeClr val="tx1"/>
                </a:solidFill>
              </a:rPr>
              <a:t>Pallavi</a:t>
            </a:r>
            <a:endParaRPr lang="en-IN" sz="28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Simran Malhotra</a:t>
            </a:r>
            <a:endParaRPr lang="en-IN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Defect Summar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/>
              <a:t>The spelling of Login page in Home page wrongly </a:t>
            </a:r>
            <a:r>
              <a:rPr lang="en-US" b="0" dirty="0" err="1"/>
              <a:t>diplayed</a:t>
            </a:r>
            <a:r>
              <a:rPr lang="en-US" b="0" dirty="0"/>
              <a:t> as </a:t>
            </a:r>
            <a:r>
              <a:rPr lang="en-US" b="0" dirty="0" err="1"/>
              <a:t>Logn</a:t>
            </a:r>
            <a:r>
              <a:rPr lang="en-US" b="0" dirty="0"/>
              <a:t> page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</a:t>
            </a:r>
            <a:r>
              <a:rPr lang="en-US" b="0" dirty="0" smtClean="0"/>
              <a:t>name </a:t>
            </a:r>
            <a:r>
              <a:rPr lang="en-US" b="0" dirty="0"/>
              <a:t>field in the login page is found to accept special characters and digits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password field in the login page is found to accept more than 8 </a:t>
            </a:r>
            <a:r>
              <a:rPr lang="en-US" b="0" dirty="0" err="1"/>
              <a:t>characers</a:t>
            </a:r>
            <a:r>
              <a:rPr lang="en-US" b="0" dirty="0"/>
              <a:t>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On clicking </a:t>
            </a:r>
            <a:r>
              <a:rPr lang="en-US" b="0" dirty="0" smtClean="0"/>
              <a:t>about </a:t>
            </a:r>
            <a:r>
              <a:rPr lang="en-US" b="0" dirty="0"/>
              <a:t>us link in web page, it is not redirecting to another page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asset quantity field  in the Raise a Request page is found to accept alphabets and special characters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asset description field  in the Raise a Request page is found to accept alphabets and special characters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Asset name field  in the add asset web page is found to accept special characters and digits.</a:t>
            </a:r>
            <a:r>
              <a:rPr lang="en-US" dirty="0"/>
              <a:t> 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9022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en asset description is entered in the add asset web </a:t>
            </a:r>
            <a:r>
              <a:rPr lang="en-US" dirty="0" err="1"/>
              <a:t>page,there</a:t>
            </a:r>
            <a:r>
              <a:rPr lang="en-US" dirty="0"/>
              <a:t> is no word limit set</a:t>
            </a:r>
            <a:r>
              <a:rPr lang="en-US" dirty="0" smtClean="0"/>
              <a:t>.</a:t>
            </a:r>
          </a:p>
          <a:p>
            <a:r>
              <a:rPr lang="en-US" dirty="0"/>
              <a:t>The asset quantity field  in the add asset page is found to accept alphabets and special characters.</a:t>
            </a:r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asset id field  in the view status screen page is found to accept more than 4 characters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2400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AssetManagementSystem_Spring/index.html</a:t>
            </a:r>
            <a:endParaRPr lang="en-US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1828799"/>
            <a:ext cx="8305800" cy="4191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lvl="2" algn="l"/>
            <a:endParaRPr lang="en-US" sz="1800" dirty="0">
              <a:solidFill>
                <a:schemeClr val="tx1"/>
              </a:solidFill>
            </a:endParaRPr>
          </a:p>
          <a:p>
            <a:pPr lvl="2" algn="l"/>
            <a:r>
              <a:rPr lang="en-US" sz="1800" b="1" dirty="0" smtClean="0">
                <a:solidFill>
                  <a:schemeClr val="tx1"/>
                </a:solidFill>
              </a:rPr>
              <a:t>LINK:</a:t>
            </a:r>
            <a:r>
              <a:rPr lang="en-US" sz="1800" b="1" dirty="0" smtClean="0">
                <a:solidFill>
                  <a:schemeClr val="tx1"/>
                </a:solidFill>
                <a:hlinkClick r:id="rId2" action="ppaction://hlinkfile"/>
              </a:rPr>
              <a:t>TEST_CASE</a:t>
            </a:r>
            <a:endParaRPr lang="en-US" sz="1800" b="1" dirty="0" smtClean="0">
              <a:solidFill>
                <a:schemeClr val="tx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5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106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5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44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9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43000"/>
            <a:ext cx="8305800" cy="5181600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76400" y="2362200"/>
            <a:ext cx="60198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dirty="0" smtClean="0"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Candara" panose="020E0502030303020204" pitchFamily="34" charset="0"/>
              </a:rPr>
              <a:t>THANK YOU</a:t>
            </a:r>
            <a:endParaRPr lang="en-US" sz="8800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  <a:outerShdw blurRad="60007" dist="310007" dir="7680000" sy="30000" kx="1300200" algn="ctr" rotWithShape="0">
                  <a:prstClr val="black">
                    <a:alpha val="32000"/>
                  </a:prstClr>
                </a:outerShdw>
                <a:reflection blurRad="6350" stA="60000" endA="900" endPos="58000" dir="5400000" sy="-100000" algn="bl" rotWithShape="0"/>
              </a:effectLst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website </a:t>
            </a:r>
            <a:r>
              <a:rPr lang="en-US" sz="2000" b="0" dirty="0">
                <a:solidFill>
                  <a:schemeClr val="tx1"/>
                </a:solidFill>
              </a:rPr>
              <a:t>is designed to accomplish the Asset Management System for an Organization. This is an Intranet based application that can be accessed throughout the organization. This system is used to raise a request for an asset and assign a asset to/from an employee. </a:t>
            </a:r>
            <a:r>
              <a:rPr lang="en-US" sz="2000" b="0" dirty="0" smtClean="0">
                <a:solidFill>
                  <a:schemeClr val="tx1"/>
                </a:solidFill>
              </a:rPr>
              <a:t>This helps serving our needs by </a:t>
            </a:r>
            <a:r>
              <a:rPr lang="en-US" sz="2000" b="0" dirty="0">
                <a:solidFill>
                  <a:schemeClr val="tx1"/>
                </a:solidFill>
              </a:rPr>
              <a:t>allocating assets</a:t>
            </a:r>
            <a:r>
              <a:rPr lang="en-US" sz="2000" b="0" dirty="0" smtClean="0">
                <a:solidFill>
                  <a:schemeClr val="tx1"/>
                </a:solidFill>
              </a:rPr>
              <a:t>. This website systematically processes asset requests, operating</a:t>
            </a:r>
            <a:r>
              <a:rPr lang="en-US" sz="2000" b="0" dirty="0">
                <a:solidFill>
                  <a:schemeClr val="tx1"/>
                </a:solidFill>
              </a:rPr>
              <a:t>, maintaining, upgrading, and disposing of assets </a:t>
            </a:r>
            <a:r>
              <a:rPr lang="en-US" sz="2000" b="0" dirty="0" smtClean="0">
                <a:solidFill>
                  <a:schemeClr val="tx1"/>
                </a:solidFill>
              </a:rPr>
              <a:t>effectively</a:t>
            </a:r>
            <a:r>
              <a:rPr lang="en-US" sz="2000" b="0" dirty="0">
                <a:solidFill>
                  <a:schemeClr val="tx1"/>
                </a:solidFill>
              </a:rPr>
              <a:t>.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250000"/>
              </a:lnSpc>
            </a:pPr>
            <a:r>
              <a:rPr lang="en-US" sz="2400" b="0" dirty="0" smtClean="0">
                <a:solidFill>
                  <a:schemeClr val="tx1"/>
                </a:solidFill>
              </a:rPr>
              <a:t>Administrator</a:t>
            </a:r>
            <a:r>
              <a:rPr lang="en-US" sz="2400" b="0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250000"/>
              </a:lnSpc>
            </a:pPr>
            <a:r>
              <a:rPr lang="en-US" sz="2400" b="0" dirty="0" smtClean="0">
                <a:solidFill>
                  <a:schemeClr val="tx1"/>
                </a:solidFill>
              </a:rPr>
              <a:t>Manager/User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559822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/>
              <a:t>AMS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074739136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910700265"/>
              </p:ext>
            </p:extLst>
          </p:nvPr>
        </p:nvGraphicFramePr>
        <p:xfrm>
          <a:off x="1043609" y="2445189"/>
          <a:ext cx="3096344" cy="30465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A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57</TotalTime>
  <Words>992</Words>
  <Application>Microsoft Office PowerPoint</Application>
  <PresentationFormat>On-screen Show (4:3)</PresentationFormat>
  <Paragraphs>153</Paragraphs>
  <Slides>27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39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AMS TEST cASE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DIAGRAM</vt:lpstr>
      <vt:lpstr>USE CASE DIAGRAM</vt:lpstr>
      <vt:lpstr>USE CASE DIAGRAM</vt:lpstr>
      <vt:lpstr>DFDR</vt:lpstr>
      <vt:lpstr>DEFECTS FOUND</vt:lpstr>
      <vt:lpstr>DEFECTS FOUND</vt:lpstr>
      <vt:lpstr>Defect Summary</vt:lpstr>
      <vt:lpstr>PowerPoint Presentation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moturi, pallavi</cp:lastModifiedBy>
  <cp:revision>186</cp:revision>
  <dcterms:created xsi:type="dcterms:W3CDTF">2015-08-27T08:52:20Z</dcterms:created>
  <dcterms:modified xsi:type="dcterms:W3CDTF">2018-07-26T04:35:59Z</dcterms:modified>
</cp:coreProperties>
</file>